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13"/>
  </p:notesMasterIdLst>
  <p:sldIdLst>
    <p:sldId id="258" r:id="rId2"/>
    <p:sldId id="259" r:id="rId3"/>
    <p:sldId id="260" r:id="rId4"/>
    <p:sldId id="261" r:id="rId5"/>
    <p:sldId id="262" r:id="rId6"/>
    <p:sldId id="263" r:id="rId7"/>
    <p:sldId id="264" r:id="rId8"/>
    <p:sldId id="265" r:id="rId9"/>
    <p:sldId id="266" r:id="rId10"/>
    <p:sldId id="267" r:id="rId11"/>
    <p:sldId id="269" r:id="rId12"/>
  </p:sldIdLst>
  <p:sldSz cx="18288000" cy="10287000"/>
  <p:notesSz cx="6858000" cy="9144000"/>
  <p:embeddedFontLst>
    <p:embeddedFont>
      <p:font typeface="Calibri" panose="020F0502020204030204" pitchFamily="34" charset="0"/>
      <p:regular r:id="rId14"/>
      <p:bold r:id="rId15"/>
      <p:italic r:id="rId16"/>
      <p:boldItalic r:id="rId17"/>
    </p:embeddedFont>
    <p:embeddedFont>
      <p:font typeface="Raleway" pitchFamily="2" charset="0"/>
      <p:regular r:id="rId18"/>
      <p:bold r:id="rId19"/>
      <p:italic r:id="rId20"/>
      <p:boldItalic r:id="rId21"/>
    </p:embeddedFont>
    <p:embeddedFont>
      <p:font typeface="Roboto Light" panose="02000000000000000000" pitchFamily="2" charset="0"/>
      <p:regular r:id="rId22"/>
      <p:bold r:id="rId23"/>
      <p:italic r:id="rId24"/>
      <p:boldItalic r:id="rId25"/>
    </p:embeddedFont>
  </p:embeddedFontLst>
  <p:custDataLst>
    <p:tags r:id="rId26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55" userDrawn="1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67150D5-B3B3-4800-8FF0-DD372A082C93}" v="1" dt="2023-10-24T23:22:19.27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129"/>
    <p:restoredTop sz="94789"/>
  </p:normalViewPr>
  <p:slideViewPr>
    <p:cSldViewPr snapToGrid="0">
      <p:cViewPr varScale="1">
        <p:scale>
          <a:sx n="70" d="100"/>
          <a:sy n="70" d="100"/>
        </p:scale>
        <p:origin x="522" y="60"/>
      </p:cViewPr>
      <p:guideLst>
        <p:guide orient="horz" pos="655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5.fntdata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font" Target="fonts/font8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4.fntdata"/><Relationship Id="rId25" Type="http://schemas.openxmlformats.org/officeDocument/2006/relationships/font" Target="fonts/font12.fntdata"/><Relationship Id="rId2" Type="http://schemas.openxmlformats.org/officeDocument/2006/relationships/slide" Target="slides/slide1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1.fntdata"/><Relationship Id="rId32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6.fntdata"/><Relationship Id="rId31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chmad Zaenuri" userId="e962b4c0-c8ac-4048-b6b8-c2c30e25db3b" providerId="ADAL" clId="{167150D5-B3B3-4800-8FF0-DD372A082C93}"/>
    <pc:docChg chg="custSel delSld modSld">
      <pc:chgData name="Achmad Zaenuri" userId="e962b4c0-c8ac-4048-b6b8-c2c30e25db3b" providerId="ADAL" clId="{167150D5-B3B3-4800-8FF0-DD372A082C93}" dt="2023-10-24T23:33:58.438" v="6" actId="2696"/>
      <pc:docMkLst>
        <pc:docMk/>
      </pc:docMkLst>
      <pc:sldChg chg="modSp mod">
        <pc:chgData name="Achmad Zaenuri" userId="e962b4c0-c8ac-4048-b6b8-c2c30e25db3b" providerId="ADAL" clId="{167150D5-B3B3-4800-8FF0-DD372A082C93}" dt="2023-10-24T23:17:24.486" v="5" actId="20577"/>
        <pc:sldMkLst>
          <pc:docMk/>
          <pc:sldMk cId="0" sldId="267"/>
        </pc:sldMkLst>
        <pc:spChg chg="mod">
          <ac:chgData name="Achmad Zaenuri" userId="e962b4c0-c8ac-4048-b6b8-c2c30e25db3b" providerId="ADAL" clId="{167150D5-B3B3-4800-8FF0-DD372A082C93}" dt="2023-10-24T23:17:24.486" v="5" actId="20577"/>
          <ac:spMkLst>
            <pc:docMk/>
            <pc:sldMk cId="0" sldId="267"/>
            <ac:spMk id="3" creationId="{00000000-0000-0000-0000-000000000000}"/>
          </ac:spMkLst>
        </pc:spChg>
      </pc:sldChg>
      <pc:sldChg chg="del">
        <pc:chgData name="Achmad Zaenuri" userId="e962b4c0-c8ac-4048-b6b8-c2c30e25db3b" providerId="ADAL" clId="{167150D5-B3B3-4800-8FF0-DD372A082C93}" dt="2023-10-24T23:33:58.438" v="6" actId="2696"/>
        <pc:sldMkLst>
          <pc:docMk/>
          <pc:sldMk cId="0" sldId="268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109652" y="2882068"/>
            <a:ext cx="14068696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11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2109652" y="4823012"/>
            <a:ext cx="14044090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683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SMALL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8287999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51371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06555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background_block">
            <a:extLst>
              <a:ext uri="{FF2B5EF4-FFF2-40B4-BE49-F238E27FC236}">
                <a16:creationId xmlns:a16="http://schemas.microsoft.com/office/drawing/2014/main" id="{7BEEA341-586D-B048-35BC-9616BE85A2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13842" y="0"/>
            <a:ext cx="57257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601200"/>
            <a:ext cx="18288000" cy="68579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7D4BB170-9F09-7110-3CD4-AF58BD7B65E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_4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image_4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  <p:sp>
        <p:nvSpPr>
          <p:cNvPr id="12" name="content_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image_3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" name="content_2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image_2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D430C6F0-E30A-7BAF-6C33-C5B5211D4BE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887448"/>
            <a:ext cx="18286412" cy="39955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3325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429000"/>
            <a:ext cx="4624475" cy="6172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994357" y="1028700"/>
            <a:ext cx="10374479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hart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69124" y="9601200"/>
            <a:ext cx="10404476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A3D5285-BC74-616C-FC2D-82173282C0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943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5F36563A-2106-69C5-E8E9-27FA96DE802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94357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688175B4-C1B3-DC4A-FC57-AA718C3244C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26546" y="0"/>
            <a:ext cx="559866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021798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_block">
            <a:extLst>
              <a:ext uri="{FF2B5EF4-FFF2-40B4-BE49-F238E27FC236}">
                <a16:creationId xmlns:a16="http://schemas.microsoft.com/office/drawing/2014/main" id="{FDEABBCE-427C-A928-7A5F-A6E46759AD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3429000"/>
            <a:ext cx="4624475" cy="5918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5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BD69A525-8BD0-FB5F-9FB7-C8A123291AF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94265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CHAR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6" y="2263775"/>
            <a:ext cx="14624843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4" y="3429000"/>
            <a:ext cx="14625725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C99C115F-07D7-7960-E7F5-D108DC3DF8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5FFC2887-C1F1-3ECB-D55D-8EC43892E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CHART_ATTRIBUTION</a:t>
            </a:r>
          </a:p>
        </p:txBody>
      </p:sp>
    </p:spTree>
    <p:extLst>
      <p:ext uri="{BB962C8B-B14F-4D97-AF65-F5344CB8AC3E}">
        <p14:creationId xmlns:p14="http://schemas.microsoft.com/office/powerpoint/2010/main" val="47677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3429000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ASIC_LAYOUT" preserve="1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4" y="2277035"/>
            <a:ext cx="13968341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Raleway" pitchFamily="2" charset="77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75F89250-7C5B-B1F5-8200-8B8C635D3F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7756372" y="0"/>
            <a:ext cx="531628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02135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EXT_HALF_COLOR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6" name="background_block">
            <a:extLst>
              <a:ext uri="{FF2B5EF4-FFF2-40B4-BE49-F238E27FC236}">
                <a16:creationId xmlns:a16="http://schemas.microsoft.com/office/drawing/2014/main" id="{E0646940-DA1E-5EA3-E796-448F4439F9B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1304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93720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mage">
            <a:extLst>
              <a:ext uri="{FF2B5EF4-FFF2-40B4-BE49-F238E27FC236}">
                <a16:creationId xmlns:a16="http://schemas.microsoft.com/office/drawing/2014/main" id="{94B6F339-EBB5-67F5-7B23-40FE42957964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-1" y="6375"/>
            <a:ext cx="18288001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5" name="transparent_block"/>
          <p:cNvSpPr>
            <a:spLocks noGrp="1"/>
          </p:cNvSpPr>
          <p:nvPr>
            <p:ph type="pic" idx="2" hasCustomPrompt="1"/>
          </p:nvPr>
        </p:nvSpPr>
        <p:spPr>
          <a:xfrm>
            <a:off x="1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2671483" y="5869292"/>
            <a:ext cx="13330518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MIDDLE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logo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image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background_block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D679FE-3B60-23E0-8EBD-D3204877DB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806DCB6-BDD3-0C02-D0C6-B4B53F933815}"/>
              </a:ext>
            </a:extLst>
          </p:cNvPr>
          <p:cNvSpPr txBox="1"/>
          <p:nvPr userDrawn="1"/>
        </p:nvSpPr>
        <p:spPr>
          <a:xfrm>
            <a:off x="931000" y="9601200"/>
            <a:ext cx="5188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mart Slides GPT Plugin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0" r:id="rId1"/>
    <p:sldLayoutId id="2147483663" r:id="rId2"/>
    <p:sldLayoutId id="2147483671" r:id="rId3"/>
    <p:sldLayoutId id="2147483673" r:id="rId4"/>
    <p:sldLayoutId id="2147483666" r:id="rId5"/>
    <p:sldLayoutId id="2147483662" r:id="rId6"/>
    <p:sldLayoutId id="2147483664" r:id="rId7"/>
    <p:sldLayoutId id="2147483660" r:id="rId8"/>
    <p:sldLayoutId id="2147483657" r:id="rId9"/>
    <p:sldLayoutId id="2147483665" r:id="rId10"/>
    <p:sldLayoutId id="2147483674" r:id="rId11"/>
    <p:sldLayoutId id="2147483658" r:id="rId12"/>
    <p:sldLayoutId id="2147483661" r:id="rId13"/>
    <p:sldLayoutId id="2147483655" r:id="rId14"/>
    <p:sldLayoutId id="2147483659" r:id="rId15"/>
    <p:sldLayoutId id="2147483656" r:id="rId16"/>
    <p:sldLayoutId id="2147483668" r:id="rId17"/>
    <p:sldLayoutId id="2147483669" r:id="rId18"/>
    <p:sldLayoutId id="2147483672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  <p:pic>
        <p:nvPicPr>
          <p:cNvPr id="3" name="Picture Placeholder 2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FFFFFF"/>
                </a:solidFill>
                <a:latin typeface="Arial"/>
              </a:defRPr>
            </a:pPr>
            <a:r>
              <a:t>Chapter 3: Searching with Elasticsearch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defRPr sz="3600">
                <a:latin typeface="Arial"/>
              </a:defRPr>
            </a:pPr>
            <a:r>
              <a:rPr dirty="0"/>
              <a:t>Real-time search suggestion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Query-time Search As You Typ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t>Dedicated field type for real-time search</a:t>
            </a:r>
          </a:p>
          <a:p>
            <a:pPr>
              <a:defRPr sz="3600">
                <a:latin typeface="Arial"/>
              </a:defRPr>
            </a:pPr>
            <a:r>
              <a:t>Optimized for performance and relevan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Search-As-You-Type Field Typ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t>Simple search interface for quick queries</a:t>
            </a:r>
          </a:p>
          <a:p>
            <a:pPr>
              <a:defRPr sz="3600">
                <a:latin typeface="Arial"/>
              </a:defRPr>
            </a:pPr>
            <a:r>
              <a:t>Example: `curl -X GET 'http://localhost:9200/movies/_search?q=title:Inception'`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“Query Lite” Interfac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t>Complex queries using JSON format</a:t>
            </a:r>
          </a:p>
          <a:p>
            <a:pPr>
              <a:defRPr sz="3600">
                <a:latin typeface="Arial"/>
              </a:defRPr>
            </a:pPr>
            <a:r>
              <a:t>Example: `curl -X GET 'http://localhost:9200/movies/_search' -d '{"query": {"match": {"title": "Inception"}}}'`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JSON Search In-Depth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t>Search for exact phrases in documents</a:t>
            </a:r>
          </a:p>
          <a:p>
            <a:pPr>
              <a:defRPr sz="3600">
                <a:latin typeface="Arial"/>
              </a:defRPr>
            </a:pPr>
            <a:r>
              <a:t>Example: `curl -X GET 'http://localhost:9200/movies/_search' -d '{"query": {"match_phrase": {"description": "dream within a dream"}}}'`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Phrase Matching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t>Retrieve results in chunks</a:t>
            </a:r>
          </a:p>
          <a:p>
            <a:pPr>
              <a:defRPr sz="3600">
                <a:latin typeface="Arial"/>
              </a:defRPr>
            </a:pPr>
            <a:r>
              <a:t>Use `from` and `size` parameters</a:t>
            </a:r>
          </a:p>
          <a:p>
            <a:pPr>
              <a:defRPr sz="3600">
                <a:latin typeface="Arial"/>
              </a:defRPr>
            </a:pPr>
            <a:r>
              <a:t>Example: `curl -X GET 'http://localhost:9200/movies/_search?from=10&amp;size=10'`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Pagina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t>Order results based on fields</a:t>
            </a:r>
          </a:p>
          <a:p>
            <a:pPr>
              <a:defRPr sz="3600">
                <a:latin typeface="Arial"/>
              </a:defRPr>
            </a:pPr>
            <a:r>
              <a:t>Example: `curl -X GET 'http://localhost:9200/movies/_search?sort=release_date:desc'`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Sorting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t>Filter results based on conditions</a:t>
            </a:r>
          </a:p>
          <a:p>
            <a:pPr>
              <a:defRPr sz="3600">
                <a:latin typeface="Arial"/>
              </a:defRPr>
            </a:pPr>
            <a:r>
              <a:t>Example: `curl -X GET 'http://localhost:9200/movies/_search' -d '{"query": {"bool": {"filter": [{"term": {"genre": "Action"}}]}}}'`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More with Filter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t>Search with typos and spelling mistakes</a:t>
            </a:r>
          </a:p>
          <a:p>
            <a:pPr>
              <a:defRPr sz="3600">
                <a:latin typeface="Arial"/>
              </a:defRPr>
            </a:pPr>
            <a:r>
              <a:t>Example: `curl -X GET 'http://localhost:9200/movies/_search' -d '{"query": {"fuzzy": {"title": {"value": "Inceptin", "fuzziness": 2}}}}'`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Fuzzy Queri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t>Match documents with partial text</a:t>
            </a:r>
          </a:p>
          <a:p>
            <a:pPr>
              <a:defRPr sz="3600">
                <a:latin typeface="Arial"/>
              </a:defRPr>
            </a:pPr>
            <a:r>
              <a:t>Example: `curl -X GET 'http://localhost:9200/movies/_search' -d '{"query": {"wildcard": {"title": "Incep*"}}}'`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Partial Matching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37</TotalTime>
  <Words>345</Words>
  <Application>Microsoft Office PowerPoint</Application>
  <PresentationFormat>Custom</PresentationFormat>
  <Paragraphs>31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Raleway</vt:lpstr>
      <vt:lpstr>Calibri</vt:lpstr>
      <vt:lpstr>Arial</vt:lpstr>
      <vt:lpstr>Roboto Light</vt:lpstr>
      <vt:lpstr>Smart Slides v1</vt:lpstr>
      <vt:lpstr>think-cell Slide</vt:lpstr>
      <vt:lpstr>Chapter 3: Searching with Elasticsearch</vt:lpstr>
      <vt:lpstr>“Query Lite” Interface</vt:lpstr>
      <vt:lpstr>JSON Search In-Depth</vt:lpstr>
      <vt:lpstr>Phrase Matching</vt:lpstr>
      <vt:lpstr>Pagination</vt:lpstr>
      <vt:lpstr>Sorting</vt:lpstr>
      <vt:lpstr>More with Filters</vt:lpstr>
      <vt:lpstr>Fuzzy Queries</vt:lpstr>
      <vt:lpstr>Partial Matching</vt:lpstr>
      <vt:lpstr>Query-time Search As You Type</vt:lpstr>
      <vt:lpstr>Search-As-You-Type Field Typ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dc:creator>achmad zaenuri</dc:creator>
  <cp:lastModifiedBy>achmad zaenuri</cp:lastModifiedBy>
  <cp:revision>64</cp:revision>
  <dcterms:modified xsi:type="dcterms:W3CDTF">2023-10-24T23:34:11Z</dcterms:modified>
</cp:coreProperties>
</file>